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56" r:id="rId2"/>
    <p:sldId id="258" r:id="rId3"/>
    <p:sldId id="755" r:id="rId4"/>
    <p:sldId id="754" r:id="rId5"/>
    <p:sldId id="263" r:id="rId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FF"/>
    <a:srgbClr val="0065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3"/>
    <p:restoredTop sz="94674"/>
  </p:normalViewPr>
  <p:slideViewPr>
    <p:cSldViewPr snapToGrid="0" snapToObjects="1">
      <p:cViewPr varScale="1">
        <p:scale>
          <a:sx n="72" d="100"/>
          <a:sy n="72" d="100"/>
        </p:scale>
        <p:origin x="132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CDA794A-D6DD-AC42-8994-2B5FFEC690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46425"/>
            <a:ext cx="9495930" cy="6950850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DA7712BF-73CF-A646-B849-DDB159BB71D8}"/>
              </a:ext>
            </a:extLst>
          </p:cNvPr>
          <p:cNvSpPr txBox="1">
            <a:spLocks/>
          </p:cNvSpPr>
          <p:nvPr/>
        </p:nvSpPr>
        <p:spPr>
          <a:xfrm>
            <a:off x="6171162" y="5621566"/>
            <a:ext cx="2397292" cy="491521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rgbClr val="002060"/>
                </a:solidFill>
                <a:latin typeface="Maven Pro" panose="02000000000000000000" pitchFamily="2" charset="0"/>
                <a:ea typeface="+mj-ea"/>
                <a:cs typeface="+mj-cs"/>
              </a:defRPr>
            </a:lvl1pPr>
          </a:lstStyle>
          <a:p>
            <a:r>
              <a:rPr lang="en-US" sz="1600" b="1" dirty="0" err="1"/>
              <a:t>Haz</a:t>
            </a:r>
            <a:r>
              <a:rPr lang="en-US" sz="1600" b="1" dirty="0"/>
              <a:t> </a:t>
            </a:r>
            <a:r>
              <a:rPr lang="en-US" sz="1600" b="1" dirty="0" err="1"/>
              <a:t>clic</a:t>
            </a:r>
            <a:r>
              <a:rPr lang="en-US" sz="1600" b="1" dirty="0"/>
              <a:t> para </a:t>
            </a:r>
            <a:r>
              <a:rPr lang="en-US" sz="1600" b="1" dirty="0" err="1"/>
              <a:t>editar</a:t>
            </a:r>
            <a:r>
              <a:rPr lang="en-US" sz="1600" b="1" dirty="0"/>
              <a:t> el </a:t>
            </a:r>
            <a:r>
              <a:rPr lang="en-US" sz="1600" b="1" dirty="0" err="1"/>
              <a:t>título</a:t>
            </a:r>
            <a:endParaRPr lang="en-US" sz="1600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C77F3B-05B5-0644-9EC1-FFC744BE3D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0188" y="269858"/>
            <a:ext cx="1946275" cy="13165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060E7A0-846E-C243-BD73-CD88E774C8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7191" y="5653568"/>
            <a:ext cx="12700" cy="723900"/>
          </a:xfrm>
          <a:prstGeom prst="rect">
            <a:avLst/>
          </a:prstGeom>
        </p:spPr>
      </p:pic>
      <p:sp>
        <p:nvSpPr>
          <p:cNvPr id="10" name="Title 7">
            <a:extLst>
              <a:ext uri="{FF2B5EF4-FFF2-40B4-BE49-F238E27FC236}">
                <a16:creationId xmlns:a16="http://schemas.microsoft.com/office/drawing/2014/main" id="{659525CE-CA45-4448-AB07-49118B6A1318}"/>
              </a:ext>
            </a:extLst>
          </p:cNvPr>
          <p:cNvSpPr txBox="1">
            <a:spLocks/>
          </p:cNvSpPr>
          <p:nvPr/>
        </p:nvSpPr>
        <p:spPr>
          <a:xfrm>
            <a:off x="6171162" y="6113087"/>
            <a:ext cx="2397292" cy="4915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rgbClr val="002060"/>
                </a:solidFill>
                <a:latin typeface="Maven Pro" panose="02000000000000000000" pitchFamily="2" charset="0"/>
                <a:ea typeface="+mj-ea"/>
                <a:cs typeface="+mj-cs"/>
              </a:defRPr>
            </a:lvl1pPr>
          </a:lstStyle>
          <a:p>
            <a:r>
              <a:rPr lang="en-US" sz="1200" b="1" baseline="0" dirty="0" err="1">
                <a:solidFill>
                  <a:schemeClr val="accent6"/>
                </a:solidFill>
              </a:rPr>
              <a:t>Haz</a:t>
            </a:r>
            <a:r>
              <a:rPr lang="en-US" sz="1200" b="1" baseline="0" dirty="0">
                <a:solidFill>
                  <a:schemeClr val="accent6"/>
                </a:solidFill>
              </a:rPr>
              <a:t> </a:t>
            </a:r>
            <a:r>
              <a:rPr lang="en-US" sz="1200" b="1" baseline="0" dirty="0" err="1">
                <a:solidFill>
                  <a:schemeClr val="accent6"/>
                </a:solidFill>
              </a:rPr>
              <a:t>clic</a:t>
            </a:r>
            <a:r>
              <a:rPr lang="en-US" sz="1200" b="1" baseline="0" dirty="0">
                <a:solidFill>
                  <a:schemeClr val="accent6"/>
                </a:solidFill>
              </a:rPr>
              <a:t> para </a:t>
            </a:r>
            <a:r>
              <a:rPr lang="en-US" sz="1200" b="1" baseline="0" dirty="0" err="1">
                <a:solidFill>
                  <a:schemeClr val="accent6"/>
                </a:solidFill>
              </a:rPr>
              <a:t>editar</a:t>
            </a:r>
            <a:r>
              <a:rPr lang="en-US" sz="1200" b="1" baseline="0" dirty="0">
                <a:solidFill>
                  <a:schemeClr val="accent6"/>
                </a:solidFill>
              </a:rPr>
              <a:t> el </a:t>
            </a:r>
            <a:r>
              <a:rPr lang="en-US" sz="1200" b="1" baseline="0" dirty="0" err="1">
                <a:solidFill>
                  <a:schemeClr val="accent6"/>
                </a:solidFill>
              </a:rPr>
              <a:t>título</a:t>
            </a:r>
            <a:endParaRPr lang="en-US" sz="1200" b="1" baseline="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814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B35AF044-BC3B-3049-84EB-6C9360E8859F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4514851" cy="6858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2000" b="1">
                <a:latin typeface="Maven Pro" panose="02000000000000000000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0B9359C-31BE-7E4A-BE94-E08CBC85062D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4629150" y="3244122"/>
            <a:ext cx="3886199" cy="287754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xto</a:t>
            </a:r>
            <a:endParaRPr lang="en-US" dirty="0"/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DE8541BB-4470-6049-88B0-8C21F10E55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9150" y="2321779"/>
            <a:ext cx="3886200" cy="3537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aseline="0">
                <a:solidFill>
                  <a:schemeClr val="accent6"/>
                </a:solidFill>
                <a:latin typeface="Maven Pro" panose="02000000000000000000" pitchFamily="2" charset="0"/>
              </a:defRPr>
            </a:lvl1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ítulo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82C7314-4E88-9743-BC73-447A2D14AA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365126"/>
            <a:ext cx="1001027" cy="43007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35461EE-C5FF-FB40-B703-D2ED053284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0388" y="365126"/>
            <a:ext cx="668422" cy="452168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F9E91EE-8816-DF4D-AC89-9C596129B2A6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598E4BB-80B9-1249-A4F8-455DBFAB9BDB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629149" y="2797909"/>
            <a:ext cx="3905449" cy="306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accent6"/>
                </a:solidFill>
                <a:latin typeface="Maven Pro" panose="02000000000000000000" pitchFamily="2" charset="0"/>
              </a:defRPr>
            </a:lvl1pPr>
            <a:lvl2pPr>
              <a:defRPr sz="1200" strike="noStrike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" panose="02000000000000000000" pitchFamily="2" charset="0"/>
              </a:defRPr>
            </a:lvl2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subtítu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485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1639" y="1607420"/>
            <a:ext cx="8062960" cy="306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accent6"/>
                </a:solidFill>
                <a:latin typeface="Maven Pro" panose="02000000000000000000" pitchFamily="2" charset="0"/>
              </a:defRPr>
            </a:lvl1pPr>
            <a:lvl2pPr>
              <a:defRPr sz="1200" strike="noStrike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" panose="02000000000000000000" pitchFamily="2" charset="0"/>
              </a:defRPr>
            </a:lvl2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subtítulo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C9493ED-E8E1-9E4B-9892-2B02F4A900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638" y="1065563"/>
            <a:ext cx="8062960" cy="43007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accent6"/>
                </a:solidFill>
                <a:latin typeface="Maven Pro" panose="02000000000000000000" pitchFamily="2" charset="0"/>
              </a:defRPr>
            </a:lvl1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ítulo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E5ABAC6-9D21-104F-ACA2-FFF0884DEA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365126"/>
            <a:ext cx="1001027" cy="43007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3DF806F-4142-3843-AFA8-A91A293AA8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0388" y="365126"/>
            <a:ext cx="668422" cy="452168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936D3D0-63EF-AC4F-A4D7-364A4F923637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0AE9FFF-50C5-634A-876C-C8CE8552F23F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471638" y="2025846"/>
            <a:ext cx="8062959" cy="4153573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x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0733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7012" y="1010654"/>
            <a:ext cx="3887587" cy="51687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latin typeface="Maven Pro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A6704AE0-71BA-7E45-BC1F-18AA37EFF3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640" y="1010654"/>
            <a:ext cx="4034976" cy="49152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accent6"/>
                </a:solidFill>
                <a:latin typeface="Maven Pro" panose="02000000000000000000" pitchFamily="2" charset="0"/>
              </a:defRPr>
            </a:lvl1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ítulo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AE26586-95D9-4F43-BB9B-A89E08E386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365126"/>
            <a:ext cx="1001027" cy="43007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93C621D-A82E-EB48-8B3C-C0E6374334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0388" y="365126"/>
            <a:ext cx="668422" cy="452168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072B547-D846-6C45-855C-FFCDF5C58AFB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DE8C086-4DE7-7E4D-8C12-D574B403F81D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471638" y="2034480"/>
            <a:ext cx="4034281" cy="414494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xto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1782C59-98DB-0B45-BD61-9995E4349656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71638" y="1615006"/>
            <a:ext cx="4025351" cy="306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accent6"/>
                </a:solidFill>
                <a:latin typeface="Maven Pro" panose="02000000000000000000" pitchFamily="2" charset="0"/>
              </a:defRPr>
            </a:lvl1pPr>
            <a:lvl2pPr>
              <a:defRPr sz="1200" strike="noStrike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" panose="02000000000000000000" pitchFamily="2" charset="0"/>
              </a:defRPr>
            </a:lvl2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subtítu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857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376900B-3111-F04A-A42F-EA73D0E6611D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48400" y="3339966"/>
            <a:ext cx="3886199" cy="27817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AD76B8-0795-6F4C-8E0B-35664BADD5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6277838"/>
            <a:ext cx="1001027" cy="430071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697F1E1-7EBC-F043-B906-84FEE037C96D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E7BC664A-0596-2040-AB1F-5A0245976A77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9143999" cy="312208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2000" b="1">
                <a:latin typeface="Maven Pro" panose="02000000000000000000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2454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624" y="0"/>
            <a:ext cx="9143999" cy="687725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2000" b="1">
                <a:latin typeface="Maven Pro" panose="02000000000000000000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24301EB-510D-D442-9501-8E16B8B862D1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48400" y="3429000"/>
            <a:ext cx="3886199" cy="2750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xto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475E99B-26B2-7F44-ABD3-68D8442D7D8E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45C49EC-EFA2-8943-8745-C6C56AFD57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6277838"/>
            <a:ext cx="1001027" cy="430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540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3616" y="1068452"/>
            <a:ext cx="4260983" cy="513984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baseline="0">
                <a:latin typeface="Maven Pro" panose="02000000000000000000" pitchFamily="2" charset="0"/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33F7313-60FB-5B4E-BCE4-4289E9660426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356134" y="1068452"/>
            <a:ext cx="3734601" cy="5139843"/>
          </a:xfrm>
          <a:prstGeom prst="rect">
            <a:avLst/>
          </a:prstGeom>
        </p:spPr>
        <p:txBody>
          <a:bodyPr/>
          <a:lstStyle>
            <a:lvl1pPr marL="0" indent="0" algn="just">
              <a:buNone/>
              <a:defRPr sz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FA9500C-CCD4-AC48-B847-CF299FAE6C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365126"/>
            <a:ext cx="1001027" cy="43007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DAFB9AE-00F7-3941-9274-98535A17A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0388" y="365126"/>
            <a:ext cx="668422" cy="452168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DA0A9C3-41E8-3F45-B19C-AD747FAF521E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</p:spTree>
    <p:extLst>
      <p:ext uri="{BB962C8B-B14F-4D97-AF65-F5344CB8AC3E}">
        <p14:creationId xmlns:p14="http://schemas.microsoft.com/office/powerpoint/2010/main" val="11704091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1096BCD-E857-7D42-91CD-FAEEE89065FB}"/>
              </a:ext>
            </a:extLst>
          </p:cNvPr>
          <p:cNvSpPr>
            <a:spLocks noGrp="1" noChangeAspect="1"/>
          </p:cNvSpPr>
          <p:nvPr>
            <p:ph type="pic" idx="13" hasCustomPrompt="1"/>
          </p:nvPr>
        </p:nvSpPr>
        <p:spPr>
          <a:xfrm>
            <a:off x="3887391" y="3657601"/>
            <a:ext cx="4647208" cy="2531444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2000" b="1">
                <a:latin typeface="Maven Pro" panose="02000000000000000000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inserter </a:t>
            </a:r>
            <a:r>
              <a:rPr lang="en-US"/>
              <a:t>imágen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9429A50-12FF-2244-913D-BD7669083D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365126"/>
            <a:ext cx="1001027" cy="43007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A1B34B2-19E3-FC46-AC66-B0870FC512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0388" y="365126"/>
            <a:ext cx="668422" cy="452168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796D2B1-9CF5-9E40-A63B-6E49E3967C8E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7BCD3134-2F46-D14F-9284-D88B20936A53}"/>
              </a:ext>
            </a:extLst>
          </p:cNvPr>
          <p:cNvSpPr>
            <a:spLocks noGrp="1" noChangeAspect="1"/>
          </p:cNvSpPr>
          <p:nvPr>
            <p:ph type="pic" idx="15" hasCustomPrompt="1"/>
          </p:nvPr>
        </p:nvSpPr>
        <p:spPr>
          <a:xfrm>
            <a:off x="3887391" y="1010653"/>
            <a:ext cx="4647208" cy="2531444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2000" b="1">
                <a:latin typeface="Maven Pro" panose="02000000000000000000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inserter </a:t>
            </a:r>
            <a:r>
              <a:rPr lang="en-US" dirty="0" err="1"/>
              <a:t>imágen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51CA787-3673-B14C-80F7-800EC0547F63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471639" y="1010654"/>
            <a:ext cx="3234088" cy="5168766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706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E8FCC38-A3C9-3F40-8BDC-FD0BF82250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11B6D5D-2218-0844-9F10-1F3AC84036FD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2628900" y="6301052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000" baseline="0">
                <a:solidFill>
                  <a:schemeClr val="bg1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9A1A03E-265C-A34B-914D-DE8689FF3B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4375" y="2678846"/>
            <a:ext cx="2635249" cy="1789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722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27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5" r:id="rId4"/>
    <p:sldLayoutId id="2147483673" r:id="rId5"/>
    <p:sldLayoutId id="2147483669" r:id="rId6"/>
    <p:sldLayoutId id="2147483668" r:id="rId7"/>
    <p:sldLayoutId id="2147483672" r:id="rId8"/>
    <p:sldLayoutId id="2147483661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76F4758D-088A-4867-B702-51603EC86D3D}"/>
              </a:ext>
            </a:extLst>
          </p:cNvPr>
          <p:cNvSpPr txBox="1"/>
          <p:nvPr/>
        </p:nvSpPr>
        <p:spPr>
          <a:xfrm>
            <a:off x="6149009" y="5156244"/>
            <a:ext cx="2637182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MX" b="1" dirty="0">
                <a:solidFill>
                  <a:srgbClr val="0070C0"/>
                </a:solidFill>
              </a:rPr>
              <a:t>PLANEACIÓN ESTRATÉGICA 2020</a:t>
            </a:r>
          </a:p>
          <a:p>
            <a:r>
              <a:rPr lang="es-MX" b="1" dirty="0">
                <a:solidFill>
                  <a:srgbClr val="0070C0"/>
                </a:solidFill>
              </a:rPr>
              <a:t>29 DE ENERO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13F3EC7-B148-4A59-B82C-95B66E7BFD20}"/>
              </a:ext>
            </a:extLst>
          </p:cNvPr>
          <p:cNvSpPr txBox="1"/>
          <p:nvPr/>
        </p:nvSpPr>
        <p:spPr>
          <a:xfrm>
            <a:off x="6149009" y="6079574"/>
            <a:ext cx="263718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MX" b="1" dirty="0">
                <a:solidFill>
                  <a:srgbClr val="0070C0"/>
                </a:solidFill>
              </a:rPr>
              <a:t>OPERACIONES</a:t>
            </a:r>
          </a:p>
        </p:txBody>
      </p:sp>
    </p:spTree>
    <p:extLst>
      <p:ext uri="{BB962C8B-B14F-4D97-AF65-F5344CB8AC3E}">
        <p14:creationId xmlns:p14="http://schemas.microsoft.com/office/powerpoint/2010/main" val="215720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0A7DC70-44FA-7C49-A041-23580BBCB5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143" y="485482"/>
            <a:ext cx="5753688" cy="430072"/>
          </a:xfrm>
        </p:spPr>
        <p:txBody>
          <a:bodyPr>
            <a:noAutofit/>
          </a:bodyPr>
          <a:lstStyle/>
          <a:p>
            <a:r>
              <a:rPr lang="en-US" sz="2600" b="1" dirty="0"/>
              <a:t>FODA ACTUALIZADO 202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84C8D1-E50A-6A4F-8E2B-0A25C049B503}"/>
              </a:ext>
            </a:extLst>
          </p:cNvPr>
          <p:cNvSpPr>
            <a:spLocks noGrp="1"/>
          </p:cNvSpPr>
          <p:nvPr>
            <p:ph type="body" sz="half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A1125CF6-8E50-492D-B7B1-6B67C5F14A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3255139"/>
              </p:ext>
            </p:extLst>
          </p:nvPr>
        </p:nvGraphicFramePr>
        <p:xfrm>
          <a:off x="851525" y="1253331"/>
          <a:ext cx="7440950" cy="48561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720475">
                  <a:extLst>
                    <a:ext uri="{9D8B030D-6E8A-4147-A177-3AD203B41FA5}">
                      <a16:colId xmlns:a16="http://schemas.microsoft.com/office/drawing/2014/main" val="1319835763"/>
                    </a:ext>
                  </a:extLst>
                </a:gridCol>
                <a:gridCol w="3720475">
                  <a:extLst>
                    <a:ext uri="{9D8B030D-6E8A-4147-A177-3AD203B41FA5}">
                      <a16:colId xmlns:a16="http://schemas.microsoft.com/office/drawing/2014/main" val="1385131162"/>
                    </a:ext>
                  </a:extLst>
                </a:gridCol>
              </a:tblGrid>
              <a:tr h="2959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MX" sz="1600" dirty="0">
                          <a:effectLst/>
                        </a:rPr>
                        <a:t>Fortalezas</a:t>
                      </a:r>
                      <a:endParaRPr lang="es-MX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Debilidades</a:t>
                      </a:r>
                      <a:endParaRPr lang="es-MX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909162"/>
                  </a:ext>
                </a:extLst>
              </a:tr>
              <a:tr h="2115359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effectLst/>
                        </a:rPr>
                        <a:t>Capacidad de entendimiento de nuevas tecnologías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effectLst/>
                        </a:rPr>
                        <a:t>Trabajo en equipo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effectLst/>
                        </a:rPr>
                        <a:t>Compromiso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effectLst/>
                        </a:rPr>
                        <a:t>Sentido de responsabilidad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effectLst/>
                        </a:rPr>
                        <a:t>Capacidad de respuesta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effectLst/>
                        </a:rPr>
                        <a:t>Estructural organizacional bien definida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endParaRPr lang="es-MX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Ciclos inconclusos 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     (cambios de administración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Falta de especialidad (Nivel técnico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Registro inconcluso u obsoleto de activo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Procesos informales 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Inglé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Actividades diarias consumen mucho tiempo lo que impide se implementen o desarrollen nuevas actividades.</a:t>
                      </a:r>
                      <a:endParaRPr lang="es-MX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4312398"/>
                  </a:ext>
                </a:extLst>
              </a:tr>
              <a:tr h="2420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MX" sz="1400">
                          <a:solidFill>
                            <a:schemeClr val="tx1"/>
                          </a:solidFill>
                          <a:effectLst/>
                        </a:rPr>
                        <a:t>Oportunidades</a:t>
                      </a:r>
                      <a:endParaRPr lang="es-MX" sz="14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MX" sz="1400" b="1" dirty="0">
                          <a:solidFill>
                            <a:schemeClr val="bg1"/>
                          </a:solidFill>
                          <a:effectLst/>
                        </a:rPr>
                        <a:t>Amenazas</a:t>
                      </a:r>
                      <a:endParaRPr lang="es-MX" sz="14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960161"/>
                  </a:ext>
                </a:extLst>
              </a:tr>
              <a:tr h="1779357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Reforzamiento de procesos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Actualización de responsivas y documentación en general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implementación documental (tickets)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Seguimiento operativo puntual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pacitación </a:t>
                      </a:r>
                      <a:r>
                        <a:rPr lang="es-MX" sz="14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 certificación </a:t>
                      </a: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 personal</a:t>
                      </a:r>
                    </a:p>
                  </a:txBody>
                  <a:tcPr marL="50325" marR="50325" marT="8987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b="1" dirty="0">
                          <a:solidFill>
                            <a:schemeClr val="bg1"/>
                          </a:solidFill>
                          <a:effectLst/>
                        </a:rPr>
                        <a:t>Daños considerables a la infraestructura por un mantenimiento deficiente o inexistente .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b="1" dirty="0">
                          <a:solidFill>
                            <a:schemeClr val="bg1"/>
                          </a:solidFill>
                          <a:effectLst/>
                        </a:rPr>
                        <a:t>Falta o perdida de activos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b="1" dirty="0">
                          <a:solidFill>
                            <a:schemeClr val="bg1"/>
                          </a:solidFill>
                          <a:effectLst/>
                        </a:rPr>
                        <a:t>No se cuentan o no se han actualizado sitios de respaldo.</a:t>
                      </a:r>
                      <a:endParaRPr lang="es-MX" sz="14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1467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89283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84C8D1-E50A-6A4F-8E2B-0A25C049B503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5056478" y="6558706"/>
            <a:ext cx="3886199" cy="306642"/>
          </a:xfrm>
        </p:spPr>
        <p:txBody>
          <a:bodyPr/>
          <a:lstStyle/>
          <a:p>
            <a:endParaRPr lang="en-US"/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C12621F0-8E89-41B9-B2B4-FA016C98009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44" y="4187495"/>
            <a:ext cx="2057400" cy="2365705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36000" tIns="274320" rIns="72000" bIns="36000"/>
          <a:lstStyle/>
          <a:p>
            <a:pPr marL="92075" indent="-92075"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Wingdings 2" pitchFamily="18" charset="2"/>
              <a:buChar char="¡"/>
            </a:pPr>
            <a:r>
              <a:rPr lang="es-ES" altLang="ja-JP" sz="1000" dirty="0">
                <a:solidFill>
                  <a:srgbClr val="002060"/>
                </a:solidFill>
                <a:ea typeface="MS PGothic" pitchFamily="34" charset="-128"/>
              </a:rPr>
              <a:t>Lanzamiento del portal de clientes durante el primer trimestre de 2020</a:t>
            </a:r>
          </a:p>
          <a:p>
            <a:pPr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</a:pPr>
            <a:endParaRPr lang="es-MX" altLang="ja-JP" sz="1100" dirty="0">
              <a:solidFill>
                <a:srgbClr val="002060"/>
              </a:solidFill>
              <a:ea typeface="MS PGothic" pitchFamily="34" charset="-128"/>
            </a:endParaRPr>
          </a:p>
        </p:txBody>
      </p:sp>
      <p:sp>
        <p:nvSpPr>
          <p:cNvPr id="27" name="Rectangle 4">
            <a:extLst>
              <a:ext uri="{FF2B5EF4-FFF2-40B4-BE49-F238E27FC236}">
                <a16:creationId xmlns:a16="http://schemas.microsoft.com/office/drawing/2014/main" id="{E4DED71A-A5B5-4574-811D-C412D6DA53D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14600" y="4187495"/>
            <a:ext cx="2057400" cy="2365705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36000" tIns="274320" rIns="72000" bIns="36000"/>
          <a:lstStyle/>
          <a:p>
            <a:pPr marL="92075" indent="-92075"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Wingdings 2" pitchFamily="18" charset="2"/>
              <a:buChar char="¡"/>
            </a:pPr>
            <a:r>
              <a:rPr lang="es-MX" altLang="ja-JP" sz="1000" dirty="0">
                <a:solidFill>
                  <a:srgbClr val="002060"/>
                </a:solidFill>
                <a:ea typeface="MS PGothic" pitchFamily="34" charset="-128"/>
              </a:rPr>
              <a:t>Generación de tickets AS de manera automatizada dentro del 2do trimestre 2020</a:t>
            </a:r>
          </a:p>
          <a:p>
            <a:pPr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</a:pPr>
            <a:endParaRPr lang="es-MX" altLang="ja-JP" sz="1100" dirty="0">
              <a:solidFill>
                <a:srgbClr val="002060"/>
              </a:solidFill>
              <a:ea typeface="MS PGothic" pitchFamily="34" charset="-128"/>
            </a:endParaRPr>
          </a:p>
        </p:txBody>
      </p:sp>
      <p:sp>
        <p:nvSpPr>
          <p:cNvPr id="28" name="Rectangle 5">
            <a:extLst>
              <a:ext uri="{FF2B5EF4-FFF2-40B4-BE49-F238E27FC236}">
                <a16:creationId xmlns:a16="http://schemas.microsoft.com/office/drawing/2014/main" id="{0D254A6B-17DB-43A8-A71E-8A0323562F8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781800" y="4187495"/>
            <a:ext cx="2057400" cy="2365705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36000" tIns="274320" rIns="72000" bIns="36000"/>
          <a:lstStyle/>
          <a:p>
            <a:pPr marL="92075" indent="-92075"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Wingdings 2" pitchFamily="18" charset="2"/>
              <a:buChar char="¡"/>
            </a:pPr>
            <a:r>
              <a:rPr lang="es-ES" altLang="ja-JP" sz="1000" dirty="0">
                <a:solidFill>
                  <a:srgbClr val="002060"/>
                </a:solidFill>
                <a:ea typeface="MS PGothic" pitchFamily="34" charset="-128"/>
              </a:rPr>
              <a:t>Emisión de boletín de seguridad de manera mensual a partir del 2do trimestre 2020</a:t>
            </a:r>
          </a:p>
        </p:txBody>
      </p:sp>
      <p:sp>
        <p:nvSpPr>
          <p:cNvPr id="29" name="Rectangle 15">
            <a:extLst>
              <a:ext uri="{FF2B5EF4-FFF2-40B4-BE49-F238E27FC236}">
                <a16:creationId xmlns:a16="http://schemas.microsoft.com/office/drawing/2014/main" id="{3AEF0DAB-5773-4C30-8639-8E627D661D46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4944" y="3071536"/>
            <a:ext cx="2057400" cy="662264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91440" tIns="0" rIns="91440" bIns="0" anchor="ctr"/>
          <a:lstStyle/>
          <a:p>
            <a:pPr algn="ctr"/>
            <a:r>
              <a:rPr lang="es-MX" sz="900" dirty="0"/>
              <a:t>Portal Clientes</a:t>
            </a:r>
          </a:p>
        </p:txBody>
      </p:sp>
      <p:sp>
        <p:nvSpPr>
          <p:cNvPr id="30" name="Rectangle 18">
            <a:extLst>
              <a:ext uri="{FF2B5EF4-FFF2-40B4-BE49-F238E27FC236}">
                <a16:creationId xmlns:a16="http://schemas.microsoft.com/office/drawing/2014/main" id="{DFB80E49-0D04-48D5-9BA6-26829EF9370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14600" y="3071536"/>
            <a:ext cx="2057400" cy="662264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91440" tIns="0" rIns="91440" bIns="0" anchor="ctr" anchorCtr="1"/>
          <a:lstStyle/>
          <a:p>
            <a:pPr algn="ctr"/>
            <a:r>
              <a:rPr lang="es-MX" sz="900" dirty="0"/>
              <a:t>Integración</a:t>
            </a:r>
            <a:r>
              <a:rPr lang="es-MX" sz="900" i="1" dirty="0">
                <a:solidFill>
                  <a:srgbClr val="0070C0"/>
                </a:solidFill>
              </a:rPr>
              <a:t> </a:t>
            </a:r>
            <a:r>
              <a:rPr lang="es-MX" sz="900" dirty="0"/>
              <a:t>SIEM con ITSM</a:t>
            </a:r>
          </a:p>
        </p:txBody>
      </p:sp>
      <p:sp>
        <p:nvSpPr>
          <p:cNvPr id="31" name="Rectangle 21">
            <a:extLst>
              <a:ext uri="{FF2B5EF4-FFF2-40B4-BE49-F238E27FC236}">
                <a16:creationId xmlns:a16="http://schemas.microsoft.com/office/drawing/2014/main" id="{917B25E7-B6C7-4B30-937C-610AC56FD7D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781800" y="3071536"/>
            <a:ext cx="2057400" cy="662264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91440" tIns="0" rIns="91440" bIns="0" anchor="ctr" anchorCtr="1"/>
          <a:lstStyle/>
          <a:p>
            <a:pPr algn="ctr"/>
            <a:r>
              <a:rPr lang="es-MX" sz="900" dirty="0"/>
              <a:t>Boletín de seguridad</a:t>
            </a:r>
          </a:p>
        </p:txBody>
      </p:sp>
      <p:sp>
        <p:nvSpPr>
          <p:cNvPr id="32" name="Rectangle 12">
            <a:extLst>
              <a:ext uri="{FF2B5EF4-FFF2-40B4-BE49-F238E27FC236}">
                <a16:creationId xmlns:a16="http://schemas.microsoft.com/office/drawing/2014/main" id="{5D711069-B5AF-42CB-BA72-D887576B15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819" y="2027207"/>
            <a:ext cx="8476381" cy="715993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tIns="91440" rIns="36000" bIns="91440" anchor="ctr" anchorCtr="1"/>
          <a:lstStyle/>
          <a:p>
            <a:pPr algn="ctr" defTabSz="9779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MX" sz="1000" spc="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r líderes y referentes en la industria de Tecnologías de Información y Comunicación, con un alto nivel de especialización en seguridad de la información.</a:t>
            </a:r>
          </a:p>
        </p:txBody>
      </p:sp>
      <p:sp>
        <p:nvSpPr>
          <p:cNvPr id="33" name="Text Box 16">
            <a:extLst>
              <a:ext uri="{FF2B5EF4-FFF2-40B4-BE49-F238E27FC236}">
                <a16:creationId xmlns:a16="http://schemas.microsoft.com/office/drawing/2014/main" id="{C8570670-244C-4627-BCB8-C2934D1729F1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312811" y="1899675"/>
            <a:ext cx="605469" cy="2550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Visión</a:t>
            </a:r>
          </a:p>
        </p:txBody>
      </p:sp>
      <p:sp>
        <p:nvSpPr>
          <p:cNvPr id="34" name="Text Box 16">
            <a:extLst>
              <a:ext uri="{FF2B5EF4-FFF2-40B4-BE49-F238E27FC236}">
                <a16:creationId xmlns:a16="http://schemas.microsoft.com/office/drawing/2014/main" id="{A3E25C69-F497-43A3-B0BC-28FFB635A3C1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70513" y="2940769"/>
            <a:ext cx="1466281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ioridad Estratégica 1</a:t>
            </a:r>
          </a:p>
        </p:txBody>
      </p:sp>
      <p:sp>
        <p:nvSpPr>
          <p:cNvPr id="35" name="Rectangle 12">
            <a:extLst>
              <a:ext uri="{FF2B5EF4-FFF2-40B4-BE49-F238E27FC236}">
                <a16:creationId xmlns:a16="http://schemas.microsoft.com/office/drawing/2014/main" id="{E7C32302-A6C2-4CED-83C6-61AF0E686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819" y="1142199"/>
            <a:ext cx="8476381" cy="715993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tIns="91440" rIns="36000" bIns="91440" anchor="ctr" anchorCtr="1"/>
          <a:lstStyle/>
          <a:p>
            <a:pPr lvl="0" algn="ctr" defTabSz="9779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MX" sz="1000" spc="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veer soluciones integrales que salvaguarden la seguridad de la información a través de la aplicación de estándares normativos y tecnológicos de vanguardia y recursos altamente especializados, contribuyendo así a los objetivos y estrategias de nuestros clientes globales.</a:t>
            </a:r>
          </a:p>
        </p:txBody>
      </p:sp>
      <p:sp>
        <p:nvSpPr>
          <p:cNvPr id="36" name="Text Box 16">
            <a:extLst>
              <a:ext uri="{FF2B5EF4-FFF2-40B4-BE49-F238E27FC236}">
                <a16:creationId xmlns:a16="http://schemas.microsoft.com/office/drawing/2014/main" id="{832DF2C6-A058-4AEE-B81F-C3D128A4960B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287165" y="1014667"/>
            <a:ext cx="656765" cy="2550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isión</a:t>
            </a:r>
          </a:p>
        </p:txBody>
      </p:sp>
      <p:sp>
        <p:nvSpPr>
          <p:cNvPr id="37" name="Rectangle 3">
            <a:extLst>
              <a:ext uri="{FF2B5EF4-FFF2-40B4-BE49-F238E27FC236}">
                <a16:creationId xmlns:a16="http://schemas.microsoft.com/office/drawing/2014/main" id="{40FBE11A-E409-4BA8-9F3E-03B5F1BA72A8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648200" y="4187495"/>
            <a:ext cx="2057400" cy="2365705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36000" tIns="274320" rIns="72000" bIns="36000"/>
          <a:lstStyle/>
          <a:p>
            <a:pPr marL="92075" indent="-92075"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Wingdings 2" pitchFamily="18" charset="2"/>
              <a:buChar char="¡"/>
            </a:pPr>
            <a:r>
              <a:rPr lang="es-ES" altLang="ja-JP" sz="1000" dirty="0">
                <a:solidFill>
                  <a:srgbClr val="002060"/>
                </a:solidFill>
                <a:ea typeface="MS PGothic" pitchFamily="34" charset="-128"/>
              </a:rPr>
              <a:t>Generación de tickets WO a través del envío de correo electrónico por parte del cliente, reduciendo el incumplimiento de SLA</a:t>
            </a:r>
          </a:p>
          <a:p>
            <a:pPr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</a:pPr>
            <a:endParaRPr lang="es-MX" altLang="ja-JP" sz="1100" dirty="0">
              <a:solidFill>
                <a:srgbClr val="002060"/>
              </a:solidFill>
              <a:ea typeface="MS PGothic" pitchFamily="34" charset="-128"/>
            </a:endParaRPr>
          </a:p>
        </p:txBody>
      </p:sp>
      <p:sp>
        <p:nvSpPr>
          <p:cNvPr id="38" name="Rectangle 15">
            <a:extLst>
              <a:ext uri="{FF2B5EF4-FFF2-40B4-BE49-F238E27FC236}">
                <a16:creationId xmlns:a16="http://schemas.microsoft.com/office/drawing/2014/main" id="{66A85CA7-CE90-41A0-AED5-79663848C9B0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648200" y="3071536"/>
            <a:ext cx="2057400" cy="662264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91440" tIns="0" rIns="91440" bIns="0" anchor="ctr"/>
          <a:lstStyle/>
          <a:p>
            <a:pPr lvl="0" algn="ctr"/>
            <a:r>
              <a:rPr lang="es-MX" sz="900" dirty="0"/>
              <a:t>Automatización requerimientos</a:t>
            </a:r>
          </a:p>
        </p:txBody>
      </p:sp>
      <p:sp>
        <p:nvSpPr>
          <p:cNvPr id="39" name="Text Box 16">
            <a:extLst>
              <a:ext uri="{FF2B5EF4-FFF2-40B4-BE49-F238E27FC236}">
                <a16:creationId xmlns:a16="http://schemas.microsoft.com/office/drawing/2014/main" id="{DA839A11-01AF-4771-BBEF-903AC26F31BB}"/>
              </a:ext>
            </a:extLst>
          </p:cNvPr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67876" y="2940769"/>
            <a:ext cx="1466281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ioridad Estratégica 2</a:t>
            </a:r>
          </a:p>
        </p:txBody>
      </p:sp>
      <p:sp>
        <p:nvSpPr>
          <p:cNvPr id="40" name="Text Box 16">
            <a:extLst>
              <a:ext uri="{FF2B5EF4-FFF2-40B4-BE49-F238E27FC236}">
                <a16:creationId xmlns:a16="http://schemas.microsoft.com/office/drawing/2014/main" id="{5518F386-2209-4D06-9527-A9BC891FCE02}"/>
              </a:ext>
            </a:extLst>
          </p:cNvPr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959087" y="2940769"/>
            <a:ext cx="1466281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ioridad Estratégica 3</a:t>
            </a:r>
          </a:p>
        </p:txBody>
      </p:sp>
      <p:sp>
        <p:nvSpPr>
          <p:cNvPr id="41" name="Text Box 16">
            <a:extLst>
              <a:ext uri="{FF2B5EF4-FFF2-40B4-BE49-F238E27FC236}">
                <a16:creationId xmlns:a16="http://schemas.microsoft.com/office/drawing/2014/main" id="{4DF2A36D-ECA2-4BC6-B998-97BFF0FC04CB}"/>
              </a:ext>
            </a:extLst>
          </p:cNvPr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077044" y="2940769"/>
            <a:ext cx="1466281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ioridad Estratégica 4</a:t>
            </a:r>
          </a:p>
        </p:txBody>
      </p:sp>
      <p:sp>
        <p:nvSpPr>
          <p:cNvPr id="42" name="Text Box 16">
            <a:extLst>
              <a:ext uri="{FF2B5EF4-FFF2-40B4-BE49-F238E27FC236}">
                <a16:creationId xmlns:a16="http://schemas.microsoft.com/office/drawing/2014/main" id="{E531FBB4-D892-47AE-97EA-360EB40B75A6}"/>
              </a:ext>
            </a:extLst>
          </p:cNvPr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862072" y="4083399"/>
            <a:ext cx="1083163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Iniciativas Clave</a:t>
            </a:r>
          </a:p>
        </p:txBody>
      </p:sp>
      <p:sp>
        <p:nvSpPr>
          <p:cNvPr id="43" name="Text Box 16">
            <a:extLst>
              <a:ext uri="{FF2B5EF4-FFF2-40B4-BE49-F238E27FC236}">
                <a16:creationId xmlns:a16="http://schemas.microsoft.com/office/drawing/2014/main" id="{72A1FEBE-D50A-4D9C-A840-964A627CCB53}"/>
              </a:ext>
            </a:extLst>
          </p:cNvPr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001720" y="4083399"/>
            <a:ext cx="1083163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Iniciativas Clave</a:t>
            </a:r>
          </a:p>
        </p:txBody>
      </p:sp>
      <p:sp>
        <p:nvSpPr>
          <p:cNvPr id="44" name="Text Box 16">
            <a:extLst>
              <a:ext uri="{FF2B5EF4-FFF2-40B4-BE49-F238E27FC236}">
                <a16:creationId xmlns:a16="http://schemas.microsoft.com/office/drawing/2014/main" id="{71AC971A-83D4-4D1B-8C72-F41165DDD4B2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141368" y="4083399"/>
            <a:ext cx="1083163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Iniciativas Clave</a:t>
            </a:r>
          </a:p>
        </p:txBody>
      </p:sp>
      <p:sp>
        <p:nvSpPr>
          <p:cNvPr id="45" name="Text Box 16">
            <a:extLst>
              <a:ext uri="{FF2B5EF4-FFF2-40B4-BE49-F238E27FC236}">
                <a16:creationId xmlns:a16="http://schemas.microsoft.com/office/drawing/2014/main" id="{73D9FBD1-A730-4C7A-8D77-FC9BFD1864B0}"/>
              </a:ext>
            </a:extLst>
          </p:cNvPr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7281016" y="4083399"/>
            <a:ext cx="1083163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Iniciativas Clave</a:t>
            </a:r>
          </a:p>
        </p:txBody>
      </p:sp>
      <p:sp>
        <p:nvSpPr>
          <p:cNvPr id="23" name="Title 3">
            <a:extLst>
              <a:ext uri="{FF2B5EF4-FFF2-40B4-BE49-F238E27FC236}">
                <a16:creationId xmlns:a16="http://schemas.microsoft.com/office/drawing/2014/main" id="{6DD17B01-A732-443A-8972-D8CF39E7FF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1195" y="442442"/>
            <a:ext cx="3886200" cy="353728"/>
          </a:xfrm>
        </p:spPr>
        <p:txBody>
          <a:bodyPr>
            <a:normAutofit fontScale="90000"/>
          </a:bodyPr>
          <a:lstStyle/>
          <a:p>
            <a:r>
              <a:rPr lang="es-MX" dirty="0"/>
              <a:t>Sumario Ejecutivo</a:t>
            </a:r>
          </a:p>
        </p:txBody>
      </p:sp>
    </p:spTree>
    <p:extLst>
      <p:ext uri="{BB962C8B-B14F-4D97-AF65-F5344CB8AC3E}">
        <p14:creationId xmlns:p14="http://schemas.microsoft.com/office/powerpoint/2010/main" val="1922532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439BBF13-D13A-438A-BAA5-488B5C0375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129" y="1059542"/>
            <a:ext cx="1074621" cy="30480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200" b="1" dirty="0">
                <a:solidFill>
                  <a:schemeClr val="bg1"/>
                </a:solidFill>
                <a:latin typeface="+mj-lt"/>
              </a:rPr>
              <a:t>Perspectiva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6E8AB8B-F739-4778-B6D1-15EEAD3494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129" y="1396998"/>
            <a:ext cx="1074621" cy="161348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400" b="1" dirty="0">
                <a:solidFill>
                  <a:schemeClr val="tx2"/>
                </a:solidFill>
                <a:latin typeface="+mj-lt"/>
              </a:rPr>
              <a:t>Financiera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3F9359D4-39B2-4F20-AF36-E82F01E10F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9550" y="1406711"/>
            <a:ext cx="3060038" cy="160377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292100" indent="-2921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None/>
            </a:pPr>
            <a:endParaRPr lang="es-ES" altLang="en-US" sz="1000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None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None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Implementación de herramientas </a:t>
            </a:r>
            <a:r>
              <a:rPr lang="es-MX" altLang="en-US" sz="1000" dirty="0" err="1">
                <a:solidFill>
                  <a:schemeClr val="tx2"/>
                </a:solidFill>
                <a:latin typeface="+mj-lt"/>
              </a:rPr>
              <a:t>Remedy</a:t>
            </a: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 para medir la productividad del área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Cumplimiento al presupuesto planeado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Incrementar disponibilidad de los recursos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endParaRPr lang="es-ES" altLang="en-US" sz="1000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165DB722-211E-4245-B5A3-24DEAE3AD0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9550" y="1059542"/>
            <a:ext cx="3060038" cy="30480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200" b="1" dirty="0">
                <a:solidFill>
                  <a:schemeClr val="bg1"/>
                </a:solidFill>
                <a:latin typeface="+mj-lt"/>
              </a:rPr>
              <a:t>Objetivos Estratégicos</a:t>
            </a: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96100B3D-6964-4317-A3F8-B684200D7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506" y="1059542"/>
            <a:ext cx="2228326" cy="30480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200" b="1">
                <a:solidFill>
                  <a:schemeClr val="bg1"/>
                </a:solidFill>
                <a:latin typeface="+mj-lt"/>
              </a:rPr>
              <a:t>KPIs</a:t>
            </a:r>
          </a:p>
        </p:txBody>
      </p:sp>
      <p:sp>
        <p:nvSpPr>
          <p:cNvPr id="9" name="Rectangle 17">
            <a:extLst>
              <a:ext uri="{FF2B5EF4-FFF2-40B4-BE49-F238E27FC236}">
                <a16:creationId xmlns:a16="http://schemas.microsoft.com/office/drawing/2014/main" id="{DF5E1F66-EA0A-4183-8DA0-A68BD4E859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506" y="1412210"/>
            <a:ext cx="2228326" cy="159827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177800" indent="-177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71450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Generación de tickets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Ahorro en el presupuesto</a:t>
            </a:r>
            <a:endParaRPr lang="es-ES" altLang="en-US" sz="1000" dirty="0">
              <a:solidFill>
                <a:schemeClr val="tx2"/>
              </a:solidFill>
              <a:latin typeface="+mj-lt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Inventario de equipos y materiales</a:t>
            </a:r>
          </a:p>
        </p:txBody>
      </p:sp>
      <p:sp>
        <p:nvSpPr>
          <p:cNvPr id="10" name="Rectangle 35">
            <a:extLst>
              <a:ext uri="{FF2B5EF4-FFF2-40B4-BE49-F238E27FC236}">
                <a16:creationId xmlns:a16="http://schemas.microsoft.com/office/drawing/2014/main" id="{E0466A52-9097-4E72-9D8F-131D1283A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0" y="1059542"/>
            <a:ext cx="1219200" cy="30480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200" b="1" dirty="0">
                <a:solidFill>
                  <a:schemeClr val="bg1"/>
                </a:solidFill>
                <a:latin typeface="+mj-lt"/>
              </a:rPr>
              <a:t>Meta</a:t>
            </a:r>
          </a:p>
        </p:txBody>
      </p:sp>
      <p:sp>
        <p:nvSpPr>
          <p:cNvPr id="11" name="Rectangle 36">
            <a:extLst>
              <a:ext uri="{FF2B5EF4-FFF2-40B4-BE49-F238E27FC236}">
                <a16:creationId xmlns:a16="http://schemas.microsoft.com/office/drawing/2014/main" id="{C146811A-3600-40D9-989D-B5F1D0E95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5186" y="1396999"/>
            <a:ext cx="1191064" cy="16225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65 % al termino del año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100%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85%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FAF92DE3-95B7-4CF0-9829-A4008A996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129" y="3057582"/>
            <a:ext cx="1074621" cy="86798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400" b="1" dirty="0">
                <a:solidFill>
                  <a:schemeClr val="tx2"/>
                </a:solidFill>
                <a:latin typeface="+mj-lt"/>
              </a:rPr>
              <a:t>Clientes</a:t>
            </a: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324F165F-861F-473B-B372-F6B230E8B9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9550" y="3057582"/>
            <a:ext cx="3060038" cy="86798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292100" indent="-2921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Asegurar la integridad y seguridad de la información</a:t>
            </a: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Optimo funcionamiento de los equipos</a:t>
            </a: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Satisfacción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1A062ED4-A037-4B01-85CF-F76B017E7C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6262" y="3096253"/>
            <a:ext cx="2228326" cy="102555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177800" indent="-177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71450" indent="-1714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Cifrado de equipos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Mantenimiento preventivo especializado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 err="1">
                <a:solidFill>
                  <a:schemeClr val="tx2"/>
                </a:solidFill>
                <a:latin typeface="+mj-lt"/>
              </a:rPr>
              <a:t>n°</a:t>
            </a: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 de quejas </a:t>
            </a:r>
          </a:p>
          <a:p>
            <a:pPr marL="0" indent="0">
              <a:spcBef>
                <a:spcPts val="400"/>
              </a:spcBef>
              <a:spcAft>
                <a:spcPts val="400"/>
              </a:spcAft>
            </a:pPr>
            <a:endParaRPr lang="es-ES" altLang="en-US" sz="8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5" name="Rectangle 36">
            <a:extLst>
              <a:ext uri="{FF2B5EF4-FFF2-40B4-BE49-F238E27FC236}">
                <a16:creationId xmlns:a16="http://schemas.microsoft.com/office/drawing/2014/main" id="{9BD941EF-AC9F-465C-B92B-5E261EAD06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0" y="3076393"/>
            <a:ext cx="1219200" cy="89626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100%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2 al año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Máximo 3 veces reportar el mismo problema</a:t>
            </a: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578E05CE-F81A-48C0-B6AC-D144959FD2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129" y="3972661"/>
            <a:ext cx="1074621" cy="124073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400" b="1" dirty="0">
                <a:solidFill>
                  <a:schemeClr val="tx2"/>
                </a:solidFill>
                <a:latin typeface="+mj-lt"/>
              </a:rPr>
              <a:t>Proceso Interno</a:t>
            </a: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D62DF98E-6218-441B-ADCE-EE496502B3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9550" y="3972662"/>
            <a:ext cx="3060038" cy="124073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292100" indent="-2921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Realización de guías de los procesos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Plan de actualización de servidores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Actualizar documentación responsiva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Depurar procesos de alta y baja de personal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CB3FE3-2C0A-4FC7-A02C-2D6B556DD1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6262" y="3972661"/>
            <a:ext cx="2228326" cy="12317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177800" indent="-177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8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Guía de todos los procesos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Actualizar y reiniciar servidores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Reducir falta de definición de responsabilidades.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Existencia de registros y/o permisos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ES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9" name="Rectangle 36">
            <a:extLst>
              <a:ext uri="{FF2B5EF4-FFF2-40B4-BE49-F238E27FC236}">
                <a16:creationId xmlns:a16="http://schemas.microsoft.com/office/drawing/2014/main" id="{A92A4A01-C773-491A-83E6-7E87E8E27D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198" y="3981688"/>
            <a:ext cx="1219200" cy="1231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90%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100%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100%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100%</a:t>
            </a:r>
            <a:endParaRPr lang="es-MX" altLang="en-US" sz="8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id="{B4A51CD1-707D-4461-927C-3008D42E68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129" y="5260492"/>
            <a:ext cx="1074621" cy="124073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400" b="1" dirty="0">
                <a:solidFill>
                  <a:schemeClr val="tx2"/>
                </a:solidFill>
              </a:rPr>
              <a:t>Talento Interno</a:t>
            </a:r>
          </a:p>
        </p:txBody>
      </p:sp>
      <p:sp>
        <p:nvSpPr>
          <p:cNvPr id="21" name="Rectangle 5">
            <a:extLst>
              <a:ext uri="{FF2B5EF4-FFF2-40B4-BE49-F238E27FC236}">
                <a16:creationId xmlns:a16="http://schemas.microsoft.com/office/drawing/2014/main" id="{7212F546-39A0-4905-BEC2-4826BB09EB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9550" y="5323865"/>
            <a:ext cx="3060038" cy="106552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292100" indent="-2921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Apego al plan de capacitación 2020</a:t>
            </a: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Comunicación efectiva dentro del equipo de trabajo</a:t>
            </a: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F24CD550-FDE0-4C67-A884-A7FFC90F89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7642" y="5359657"/>
            <a:ext cx="2228326" cy="102973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177800" indent="-177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292100" indent="-2921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Certificación/Aprobación</a:t>
            </a:r>
          </a:p>
          <a:p>
            <a:pPr marL="292100" indent="-2921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Talleres de comunicación efectiva con el equipo</a:t>
            </a: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3" name="Rectangle 36">
            <a:extLst>
              <a:ext uri="{FF2B5EF4-FFF2-40B4-BE49-F238E27FC236}">
                <a16:creationId xmlns:a16="http://schemas.microsoft.com/office/drawing/2014/main" id="{5EDB8961-F55B-4DC6-9B18-EEFD9A2942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0" y="5358829"/>
            <a:ext cx="1219200" cy="100184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292100" indent="-2921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100%</a:t>
            </a:r>
          </a:p>
          <a:p>
            <a:pPr marL="292100" indent="-2921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100% del equipo</a:t>
            </a:r>
          </a:p>
        </p:txBody>
      </p:sp>
      <p:sp>
        <p:nvSpPr>
          <p:cNvPr id="24" name="Rectangle 35">
            <a:extLst>
              <a:ext uri="{FF2B5EF4-FFF2-40B4-BE49-F238E27FC236}">
                <a16:creationId xmlns:a16="http://schemas.microsoft.com/office/drawing/2014/main" id="{1686D883-81A9-4562-BC2E-946852E4A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6838" y="1059542"/>
            <a:ext cx="663311" cy="30480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000" b="1" dirty="0">
                <a:solidFill>
                  <a:schemeClr val="bg1"/>
                </a:solidFill>
                <a:latin typeface="+mj-lt"/>
              </a:rPr>
              <a:t>Prioridad</a:t>
            </a:r>
          </a:p>
        </p:txBody>
      </p:sp>
      <p:sp>
        <p:nvSpPr>
          <p:cNvPr id="25" name="Rectangle 36">
            <a:extLst>
              <a:ext uri="{FF2B5EF4-FFF2-40B4-BE49-F238E27FC236}">
                <a16:creationId xmlns:a16="http://schemas.microsoft.com/office/drawing/2014/main" id="{E26B13F9-682C-4C0D-A617-4536726C05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6838" y="1396999"/>
            <a:ext cx="663311" cy="161348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6" name="Rectangle 36">
            <a:extLst>
              <a:ext uri="{FF2B5EF4-FFF2-40B4-BE49-F238E27FC236}">
                <a16:creationId xmlns:a16="http://schemas.microsoft.com/office/drawing/2014/main" id="{EBD79324-F458-4ACC-BC24-8F024287E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6838" y="3019537"/>
            <a:ext cx="663311" cy="93318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8" name="Rectangle 36">
            <a:extLst>
              <a:ext uri="{FF2B5EF4-FFF2-40B4-BE49-F238E27FC236}">
                <a16:creationId xmlns:a16="http://schemas.microsoft.com/office/drawing/2014/main" id="{D1513AFF-3126-4C0A-875F-60F260554B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6838" y="5260492"/>
            <a:ext cx="663311" cy="124073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1" name="Rectangle 105">
            <a:extLst>
              <a:ext uri="{FF2B5EF4-FFF2-40B4-BE49-F238E27FC236}">
                <a16:creationId xmlns:a16="http://schemas.microsoft.com/office/drawing/2014/main" id="{45AE93F0-20D8-4B67-9C81-76087955E9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1793" y="497322"/>
            <a:ext cx="1785938" cy="117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FF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3716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8288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2860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743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2004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657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114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MX" altLang="en-US" sz="800" b="1" dirty="0">
                <a:solidFill>
                  <a:schemeClr val="tx2"/>
                </a:solidFill>
                <a:latin typeface="Arial" panose="020B0604020202020204" pitchFamily="34" charset="0"/>
              </a:rPr>
              <a:t>Ligeramente detrás de la meta</a:t>
            </a:r>
          </a:p>
        </p:txBody>
      </p:sp>
      <p:sp>
        <p:nvSpPr>
          <p:cNvPr id="42" name="Rectangle 106">
            <a:extLst>
              <a:ext uri="{FF2B5EF4-FFF2-40B4-BE49-F238E27FC236}">
                <a16:creationId xmlns:a16="http://schemas.microsoft.com/office/drawing/2014/main" id="{21FFC894-FE3B-4B30-B749-488CC077F7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3223" y="696038"/>
            <a:ext cx="1785938" cy="117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FF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3716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8288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2860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743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2004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657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114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MX" altLang="en-US" sz="800" b="1" dirty="0">
                <a:solidFill>
                  <a:schemeClr val="tx2"/>
                </a:solidFill>
                <a:latin typeface="Arial" panose="020B0604020202020204" pitchFamily="34" charset="0"/>
              </a:rPr>
              <a:t>Llegando a la meta o superándola</a:t>
            </a:r>
          </a:p>
        </p:txBody>
      </p:sp>
      <p:sp>
        <p:nvSpPr>
          <p:cNvPr id="43" name="Oval 44">
            <a:extLst>
              <a:ext uri="{FF2B5EF4-FFF2-40B4-BE49-F238E27FC236}">
                <a16:creationId xmlns:a16="http://schemas.microsoft.com/office/drawing/2014/main" id="{0715DED1-48B3-4339-BB8B-AA38FA82B17F}"/>
              </a:ext>
            </a:extLst>
          </p:cNvPr>
          <p:cNvSpPr/>
          <p:nvPr/>
        </p:nvSpPr>
        <p:spPr bwMode="auto">
          <a:xfrm>
            <a:off x="6095373" y="296064"/>
            <a:ext cx="137160" cy="13716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s-MX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4" name="Oval 45">
            <a:extLst>
              <a:ext uri="{FF2B5EF4-FFF2-40B4-BE49-F238E27FC236}">
                <a16:creationId xmlns:a16="http://schemas.microsoft.com/office/drawing/2014/main" id="{8FD9A52D-A29C-450D-8D2B-19E0F00FEFFF}"/>
              </a:ext>
            </a:extLst>
          </p:cNvPr>
          <p:cNvSpPr/>
          <p:nvPr/>
        </p:nvSpPr>
        <p:spPr bwMode="auto">
          <a:xfrm>
            <a:off x="6095373" y="487396"/>
            <a:ext cx="137160" cy="13716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s-MX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5" name="Oval 46">
            <a:extLst>
              <a:ext uri="{FF2B5EF4-FFF2-40B4-BE49-F238E27FC236}">
                <a16:creationId xmlns:a16="http://schemas.microsoft.com/office/drawing/2014/main" id="{8F5E2625-4CE1-406F-B98A-AFD867F7B884}"/>
              </a:ext>
            </a:extLst>
          </p:cNvPr>
          <p:cNvSpPr/>
          <p:nvPr/>
        </p:nvSpPr>
        <p:spPr bwMode="auto">
          <a:xfrm>
            <a:off x="6095373" y="673669"/>
            <a:ext cx="137160" cy="13716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s-MX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6" name="Rectangle 105">
            <a:extLst>
              <a:ext uri="{FF2B5EF4-FFF2-40B4-BE49-F238E27FC236}">
                <a16:creationId xmlns:a16="http://schemas.microsoft.com/office/drawing/2014/main" id="{0C899965-5D7A-4ED3-AE5D-AFA8E921A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1793" y="305590"/>
            <a:ext cx="1785938" cy="117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FF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3716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8288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2860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743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2004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657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114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MX" altLang="en-US" sz="800" b="1" dirty="0">
                <a:solidFill>
                  <a:schemeClr val="tx2"/>
                </a:solidFill>
                <a:latin typeface="Arial" panose="020B0604020202020204" pitchFamily="34" charset="0"/>
              </a:rPr>
              <a:t>Significativamente detrás de la meta</a:t>
            </a:r>
          </a:p>
        </p:txBody>
      </p:sp>
      <p:sp>
        <p:nvSpPr>
          <p:cNvPr id="54" name="Title 2">
            <a:extLst>
              <a:ext uri="{FF2B5EF4-FFF2-40B4-BE49-F238E27FC236}">
                <a16:creationId xmlns:a16="http://schemas.microsoft.com/office/drawing/2014/main" id="{92FBE397-42A3-4AC5-AFA7-BE59D29D5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1233" y="497218"/>
            <a:ext cx="4204751" cy="602918"/>
          </a:xfrm>
        </p:spPr>
        <p:txBody>
          <a:bodyPr>
            <a:normAutofit/>
          </a:bodyPr>
          <a:lstStyle/>
          <a:p>
            <a:pPr algn="ctr"/>
            <a:r>
              <a:rPr lang="en-US" sz="2600" b="1" dirty="0"/>
              <a:t>CUADRO DE MANDO 2020</a:t>
            </a:r>
          </a:p>
        </p:txBody>
      </p:sp>
      <p:sp>
        <p:nvSpPr>
          <p:cNvPr id="33" name="Rectangle 36">
            <a:extLst>
              <a:ext uri="{FF2B5EF4-FFF2-40B4-BE49-F238E27FC236}">
                <a16:creationId xmlns:a16="http://schemas.microsoft.com/office/drawing/2014/main" id="{FAD591EF-66DD-4C6E-BE87-81DB1EB850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6838" y="3981688"/>
            <a:ext cx="663311" cy="115733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023429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855E906-DE2B-B740-9BA2-84241DCDEC9C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936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Up3wyeU6fdPV.fuNf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Up3wyeU6fdPV.fuNf3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EgypYCRUGsX_P0.YWO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AkUQa_xU64X8b3QD6X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8FohgKfk2gr8uE52yA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LSuIgCCk2vFnJjkwn4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heme/theme1.xml><?xml version="1.0" encoding="utf-8"?>
<a:theme xmlns:a="http://schemas.openxmlformats.org/drawingml/2006/main" name="Theme7">
  <a:themeElements>
    <a:clrScheme name="Silent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2195A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7" id="{D8EB00E9-ECB6-E540-A8A4-D7DC390B020B}" vid="{52585324-EBAF-664B-ADE9-858BB3B7A79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7</Template>
  <TotalTime>2813</TotalTime>
  <Words>481</Words>
  <Application>Microsoft Office PowerPoint</Application>
  <PresentationFormat>Presentación en pantalla (4:3)</PresentationFormat>
  <Paragraphs>105</Paragraphs>
  <Slides>5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Maven Pro</vt:lpstr>
      <vt:lpstr>Maven Pro Medium</vt:lpstr>
      <vt:lpstr>Times</vt:lpstr>
      <vt:lpstr>Wingdings 2</vt:lpstr>
      <vt:lpstr>Wingdings 3</vt:lpstr>
      <vt:lpstr>Theme7</vt:lpstr>
      <vt:lpstr>Presentación de PowerPoint</vt:lpstr>
      <vt:lpstr>FODA ACTUALIZADO 2020</vt:lpstr>
      <vt:lpstr>Sumario Ejecutivo</vt:lpstr>
      <vt:lpstr>CUADRO DE MANDO 2020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NG 18</dc:creator>
  <cp:lastModifiedBy>Pedro Andres Garcia Diaz</cp:lastModifiedBy>
  <cp:revision>93</cp:revision>
  <dcterms:created xsi:type="dcterms:W3CDTF">2019-05-06T14:44:20Z</dcterms:created>
  <dcterms:modified xsi:type="dcterms:W3CDTF">2020-04-02T03:18:56Z</dcterms:modified>
</cp:coreProperties>
</file>